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5359" r:id="rId2"/>
  </p:sldMasterIdLst>
  <p:notesMasterIdLst>
    <p:notesMasterId r:id="rId4"/>
  </p:notesMasterIdLst>
  <p:sldIdLst>
    <p:sldId id="351" r:id="rId3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 Ibrahim Al Sayed" initials="SIAS" lastIdx="1" clrIdx="0">
    <p:extLst>
      <p:ext uri="{19B8F6BF-5375-455C-9EA6-DF929625EA0E}">
        <p15:presenceInfo xmlns:p15="http://schemas.microsoft.com/office/powerpoint/2012/main" userId="S-1-5-21-2144601217-2052088531-1167483509-86154" providerId="AD"/>
      </p:ext>
    </p:extLst>
  </p:cmAuthor>
  <p:cmAuthor id="2" name="Andreas Goldau" initials="AG" lastIdx="2" clrIdx="1">
    <p:extLst>
      <p:ext uri="{19B8F6BF-5375-455C-9EA6-DF929625EA0E}">
        <p15:presenceInfo xmlns:p15="http://schemas.microsoft.com/office/powerpoint/2012/main" userId="S-1-5-21-2144601217-2052088531-1167483509-649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 varScale="1">
        <p:scale>
          <a:sx n="79" d="100"/>
          <a:sy n="79" d="100"/>
        </p:scale>
        <p:origin x="40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502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345604549543983E-2"/>
          <c:y val="0.2038837733998462"/>
          <c:w val="0.81732462998942723"/>
          <c:h val="0.6664388447398214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Bond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67D-452F-B4AB-D989F250C68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67D-452F-B4AB-D989F250C68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67D-452F-B4AB-D989F250C686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67D-452F-B4AB-D989F250C686}"/>
              </c:ext>
            </c:extLst>
          </c:dPt>
          <c:dLbls>
            <c:dLbl>
              <c:idx val="0"/>
              <c:layout>
                <c:manualLayout>
                  <c:x val="9.5130203665645173E-5"/>
                  <c:y val="3.58198991592301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7D-452F-B4AB-D989F250C686}"/>
                </c:ext>
              </c:extLst>
            </c:dLbl>
            <c:dLbl>
              <c:idx val="2"/>
              <c:layout>
                <c:manualLayout>
                  <c:x val="1.5684668508235543E-3"/>
                  <c:y val="-8.333335156022561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67D-452F-B4AB-D989F250C686}"/>
                </c:ext>
              </c:extLst>
            </c:dLbl>
            <c:dLbl>
              <c:idx val="6"/>
              <c:layout>
                <c:manualLayout>
                  <c:x val="-1.5684668508236118E-3"/>
                  <c:y val="1.944444869738597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67D-452F-B4AB-D989F250C6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43</c:v>
                </c:pt>
              </c:numCache>
            </c:numRef>
          </c:cat>
          <c:val>
            <c:numRef>
              <c:f>Sheet1!$B$2:$B$12</c:f>
              <c:numCache>
                <c:formatCode>#,##0</c:formatCode>
                <c:ptCount val="11"/>
                <c:pt idx="1">
                  <c:v>1000</c:v>
                </c:pt>
                <c:pt idx="3">
                  <c:v>1000</c:v>
                </c:pt>
                <c:pt idx="5">
                  <c:v>750</c:v>
                </c:pt>
                <c:pt idx="6">
                  <c:v>500</c:v>
                </c:pt>
                <c:pt idx="8">
                  <c:v>500</c:v>
                </c:pt>
                <c:pt idx="10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67D-452F-B4AB-D989F250C686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Loan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67D-452F-B4AB-D989F250C686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67D-452F-B4AB-D989F250C68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67D-452F-B4AB-D989F250C68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767D-452F-B4AB-D989F250C686}"/>
              </c:ext>
            </c:extLst>
          </c:dPt>
          <c:dLbls>
            <c:dLbl>
              <c:idx val="0"/>
              <c:layout>
                <c:manualLayout>
                  <c:x val="0"/>
                  <c:y val="-8.5940746661486697E-2"/>
                </c:manualLayout>
              </c:layout>
              <c:tx>
                <c:rich>
                  <a:bodyPr/>
                  <a:lstStyle/>
                  <a:p>
                    <a:fld id="{F70E1567-10D1-4C8C-95B6-D022C3DCE1F4}" type="VALUE">
                      <a:rPr lang="en-US" sz="70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67D-452F-B4AB-D989F250C686}"/>
                </c:ext>
              </c:extLst>
            </c:dLbl>
            <c:dLbl>
              <c:idx val="5"/>
              <c:layout>
                <c:manualLayout>
                  <c:x val="-2.8515858610995157E-3"/>
                  <c:y val="-2.97202129133236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67D-452F-B4AB-D989F250C686}"/>
                </c:ext>
              </c:extLst>
            </c:dLbl>
            <c:dLbl>
              <c:idx val="6"/>
              <c:layout>
                <c:manualLayout>
                  <c:x val="-1.4733580323826614E-3"/>
                  <c:y val="-2.022135215564399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67D-452F-B4AB-D989F250C686}"/>
                </c:ext>
              </c:extLst>
            </c:dLbl>
            <c:dLbl>
              <c:idx val="7"/>
              <c:layout>
                <c:manualLayout>
                  <c:x val="0"/>
                  <c:y val="-3.5387366272376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67D-452F-B4AB-D989F250C686}"/>
                </c:ext>
              </c:extLst>
            </c:dLbl>
            <c:dLbl>
              <c:idx val="8"/>
              <c:layout>
                <c:manualLayout>
                  <c:x val="2.9467160647649988E-3"/>
                  <c:y val="-3.5387366272376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67D-452F-B4AB-D989F250C686}"/>
                </c:ext>
              </c:extLst>
            </c:dLbl>
            <c:dLbl>
              <c:idx val="9"/>
              <c:layout>
                <c:manualLayout>
                  <c:x val="0"/>
                  <c:y val="-4.044270431128781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0627012453355745E-2"/>
                      <c:h val="6.334338562755453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767D-452F-B4AB-D989F250C6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43</c:v>
                </c:pt>
              </c:numCache>
            </c:numRef>
          </c:cat>
          <c:val>
            <c:numRef>
              <c:f>Sheet1!$C$2:$C$12</c:f>
              <c:numCache>
                <c:formatCode>#,##0</c:formatCode>
                <c:ptCount val="11"/>
                <c:pt idx="0">
                  <c:v>690</c:v>
                </c:pt>
                <c:pt idx="1">
                  <c:v>40</c:v>
                </c:pt>
                <c:pt idx="2">
                  <c:v>530</c:v>
                </c:pt>
                <c:pt idx="3">
                  <c:v>510</c:v>
                </c:pt>
                <c:pt idx="4">
                  <c:v>3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67D-452F-B4AB-D989F250C686}"/>
            </c:ext>
          </c:extLst>
        </c:ser>
        <c:ser>
          <c:idx val="0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solidFill>
                <a:srgbClr val="FF3300"/>
              </a:solidFill>
              <a:prstDash val="dash"/>
            </a:ln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43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  <c:pt idx="2">
                  <c:v>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67D-452F-B4AB-D989F250C6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0"/>
        <c:overlap val="100"/>
        <c:axId val="670134528"/>
        <c:axId val="670134920"/>
      </c:barChart>
      <c:catAx>
        <c:axId val="670134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10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0134920"/>
        <c:crosses val="autoZero"/>
        <c:auto val="0"/>
        <c:lblAlgn val="ctr"/>
        <c:lblOffset val="200"/>
        <c:tickLblSkip val="1"/>
        <c:noMultiLvlLbl val="0"/>
      </c:catAx>
      <c:valAx>
        <c:axId val="670134920"/>
        <c:scaling>
          <c:orientation val="minMax"/>
          <c:max val="2000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0134528"/>
        <c:crosses val="autoZero"/>
        <c:crossBetween val="between"/>
        <c:minorUnit val="400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A320EF-E4CE-480F-9B4F-AE8D4116C097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3611CB-9579-4BD7-A47F-05C6D07CAD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72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1pPr>
    <a:lvl2pPr marL="586130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2pPr>
    <a:lvl3pPr marL="1172261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3pPr>
    <a:lvl4pPr marL="1758391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4pPr>
    <a:lvl5pPr marL="2344522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5pPr>
    <a:lvl6pPr marL="2930652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6pPr>
    <a:lvl7pPr marL="3516782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7pPr>
    <a:lvl8pPr marL="4102913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8pPr>
    <a:lvl9pPr marL="4689043" algn="l" defTabSz="1172261" rtl="0" eaLnBrk="1" latinLnBrk="0" hangingPunct="1">
      <a:defRPr sz="153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57951" indent="-57951">
              <a:buFontTx/>
              <a:buChar char="•"/>
            </a:pPr>
            <a:endParaRPr lang="en-US" b="1" i="1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Ooredoo Group H1 2017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BF02C-2B30-4A7F-9DCE-38E6C5A43D8B}" type="slidenum">
              <a:rPr lang="en-US" smtClean="0">
                <a:solidFill>
                  <a:prstClr val="black"/>
                </a:solidFill>
              </a:r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530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898C419-6795-4804-A226-24E470B90A92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8B30034-CE54-4B51-B0DC-8A0CA92FECB7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0B8417-3DB9-41FE-9E17-88EE01FE3402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out image">
    <p:bg>
      <p:bgPr>
        <a:solidFill>
          <a:schemeClr val="accent1"/>
        </a:soli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DD1761D-41BE-E94A-AA9B-887E6F4FAC8C}"/>
              </a:ext>
            </a:extLst>
          </p:cNvPr>
          <p:cNvGrpSpPr/>
          <p:nvPr userDrawn="1"/>
        </p:nvGrpSpPr>
        <p:grpSpPr>
          <a:xfrm>
            <a:off x="5333763" y="-1371600"/>
            <a:ext cx="7696028" cy="8782886"/>
            <a:chOff x="5392443" y="-1524000"/>
            <a:chExt cx="7696028" cy="8782886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F111AB3-1D61-7D45-B214-C54B092D8B1D}"/>
                </a:ext>
              </a:extLst>
            </p:cNvPr>
            <p:cNvSpPr/>
            <p:nvPr userDrawn="1"/>
          </p:nvSpPr>
          <p:spPr bwMode="auto">
            <a:xfrm>
              <a:off x="7086600" y="-1524000"/>
              <a:ext cx="6001871" cy="6001871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5408D66-38BE-5740-BF2D-521AD30F0F60}"/>
                </a:ext>
              </a:extLst>
            </p:cNvPr>
            <p:cNvSpPr/>
            <p:nvPr userDrawn="1"/>
          </p:nvSpPr>
          <p:spPr bwMode="auto">
            <a:xfrm>
              <a:off x="5392443" y="3486308"/>
              <a:ext cx="3772578" cy="3772578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041513"/>
              </p:ext>
            </p:extLst>
          </p:nvPr>
        </p:nvGraphicFramePr>
        <p:xfrm>
          <a:off x="2118" y="1906"/>
          <a:ext cx="2116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2118" y="1906"/>
                        <a:ext cx="2116" cy="190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hape 15"/>
          <p:cNvSpPr txBox="1">
            <a:spLocks noGrp="1"/>
          </p:cNvSpPr>
          <p:nvPr>
            <p:ph type="body" idx="2" hasCustomPrompt="1"/>
          </p:nvPr>
        </p:nvSpPr>
        <p:spPr>
          <a:xfrm>
            <a:off x="838612" y="3575062"/>
            <a:ext cx="5546991" cy="1026548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lnSpc>
                <a:spcPct val="120000"/>
              </a:lnSpc>
              <a:spcBef>
                <a:spcPct val="0"/>
              </a:spcBef>
              <a:buClr>
                <a:srgbClr val="FFFFFF"/>
              </a:buClr>
              <a:buFont typeface="Arial" pitchFamily="34" charset="0"/>
              <a:buNone/>
              <a:defRPr sz="2000" b="1" i="0" u="none" strike="noStrike" cap="none" baseline="0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itchFamily="34" charset="0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b-title </a:t>
            </a:r>
            <a:endParaRPr/>
          </a:p>
        </p:txBody>
      </p:sp>
      <p:sp>
        <p:nvSpPr>
          <p:cNvPr id="20" name="Shape 16"/>
          <p:cNvSpPr txBox="1">
            <a:spLocks noGrp="1"/>
          </p:cNvSpPr>
          <p:nvPr>
            <p:ph type="body" idx="3" hasCustomPrompt="1"/>
          </p:nvPr>
        </p:nvSpPr>
        <p:spPr>
          <a:xfrm>
            <a:off x="838606" y="4656768"/>
            <a:ext cx="4443769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ct val="0"/>
              </a:spcBef>
              <a:buClr>
                <a:srgbClr val="FFFFFF"/>
              </a:buClr>
              <a:buFont typeface="Arial" pitchFamily="34" charset="0"/>
              <a:buNone/>
              <a:defRPr sz="12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itchFamily="34" charset="0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DD/MM/YY</a:t>
            </a:r>
            <a:endParaRPr/>
          </a:p>
        </p:txBody>
      </p:sp>
      <p:sp>
        <p:nvSpPr>
          <p:cNvPr id="21" name="Shape 17"/>
          <p:cNvSpPr txBox="1">
            <a:spLocks noGrp="1"/>
          </p:cNvSpPr>
          <p:nvPr>
            <p:ph type="body" idx="4" hasCustomPrompt="1"/>
          </p:nvPr>
        </p:nvSpPr>
        <p:spPr>
          <a:xfrm>
            <a:off x="838606" y="4967142"/>
            <a:ext cx="4443769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ct val="0"/>
              </a:spcBef>
              <a:buClr>
                <a:srgbClr val="FFFFFF"/>
              </a:buClr>
              <a:buFont typeface="Arial" pitchFamily="34" charset="0"/>
              <a:buNone/>
              <a:defRPr sz="1200" b="0" i="0" u="none" strike="noStrike" cap="none">
                <a:solidFill>
                  <a:srgbClr val="FFFFFF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itchFamily="34" charset="0"/>
              </a:defRPr>
            </a:lvl1pPr>
            <a:lvl2pPr marL="663239" marR="0" lvl="1" indent="-99741" algn="l" rtl="0">
              <a:spcBef>
                <a:spcPts val="500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2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0368" marR="0" lvl="2" indent="-75914" algn="l" rtl="0">
              <a:spcBef>
                <a:spcPts val="425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2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428517" marR="0" lvl="3" indent="-91199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–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36662" marR="0" lvl="4" indent="-94580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»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44809" marR="0" lvl="5" indent="-90023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652956" marR="0" lvl="6" indent="-9340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061103" marR="0" lvl="7" indent="-96786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469250" marR="0" lvl="8" indent="-92231" algn="l" rtl="0">
              <a:spcBef>
                <a:spcPts val="362"/>
              </a:spcBef>
              <a:buClr>
                <a:schemeClr val="dk1"/>
              </a:buClr>
              <a:buSzTx/>
              <a:buFont typeface="Arial" pitchFamily="34" charset="0"/>
              <a:buChar char="•"/>
              <a:defRPr sz="18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/>
              <a:t>File name / Department / Author</a:t>
            </a:r>
            <a:endParaRPr/>
          </a:p>
        </p:txBody>
      </p:sp>
      <p:sp>
        <p:nvSpPr>
          <p:cNvPr id="23" name="Title 21"/>
          <p:cNvSpPr>
            <a:spLocks noGrp="1"/>
          </p:cNvSpPr>
          <p:nvPr>
            <p:ph type="title" hasCustomPrompt="1"/>
          </p:nvPr>
        </p:nvSpPr>
        <p:spPr>
          <a:xfrm>
            <a:off x="838200" y="1676400"/>
            <a:ext cx="6138332" cy="1867301"/>
          </a:xfrm>
          <a:prstGeom prst="rect">
            <a:avLst/>
          </a:prstGeom>
        </p:spPr>
        <p:txBody>
          <a:bodyPr anchor="ctr"/>
          <a:lstStyle>
            <a:lvl1pPr marL="0" marR="0" indent="0" algn="l" defTabSz="7048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3200" b="0">
                <a:solidFill>
                  <a:schemeClr val="bg1"/>
                </a:solidFill>
                <a:cs typeface="+mj-cs"/>
              </a:defRPr>
            </a:lvl1pPr>
          </a:lstStyle>
          <a:p>
            <a:pPr marL="0" marR="0" lvl="0" indent="0" algn="l" defTabSz="7048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/>
              <a:t>Click to edit Master title</a:t>
            </a:r>
            <a:br>
              <a:rPr lang="en-US"/>
            </a:br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44001" y="685800"/>
            <a:ext cx="1981200" cy="35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9222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930595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6"/>
          <p:cNvSpPr>
            <a:spLocks noGrp="1"/>
          </p:cNvSpPr>
          <p:nvPr>
            <p:ph type="sldNum" sz="quarter" idx="7"/>
          </p:nvPr>
        </p:nvSpPr>
        <p:spPr>
          <a:xfrm>
            <a:off x="11760200" y="6629400"/>
            <a:ext cx="279400" cy="1453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750">
                <a:solidFill>
                  <a:srgbClr val="FF0000"/>
                </a:solidFill>
                <a:latin typeface="+mn-lt"/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2" orient="horz" pos="38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ithout Image">
    <p:bg>
      <p:bgPr>
        <a:solidFill>
          <a:schemeClr val="accent1"/>
        </a:soli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CF5C696-6727-E149-A79F-3A4D6B32E910}"/>
              </a:ext>
            </a:extLst>
          </p:cNvPr>
          <p:cNvGrpSpPr/>
          <p:nvPr userDrawn="1"/>
        </p:nvGrpSpPr>
        <p:grpSpPr>
          <a:xfrm rot="15981601">
            <a:off x="-258052" y="-2294974"/>
            <a:ext cx="9497133" cy="10838349"/>
            <a:chOff x="5392443" y="-1524000"/>
            <a:chExt cx="7696028" cy="8782886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0C2B4C1-EC45-284D-9EEC-CFCBEF0184A8}"/>
                </a:ext>
              </a:extLst>
            </p:cNvPr>
            <p:cNvSpPr/>
            <p:nvPr userDrawn="1"/>
          </p:nvSpPr>
          <p:spPr bwMode="auto">
            <a:xfrm>
              <a:off x="7086600" y="-1524000"/>
              <a:ext cx="6001871" cy="6001871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C071821-1BC4-6C48-B438-5B79C8814306}"/>
                </a:ext>
              </a:extLst>
            </p:cNvPr>
            <p:cNvSpPr/>
            <p:nvPr userDrawn="1"/>
          </p:nvSpPr>
          <p:spPr bwMode="auto">
            <a:xfrm>
              <a:off x="5392443" y="3486308"/>
              <a:ext cx="3772578" cy="3772578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823FD20-19E2-D94F-B477-26E7A432CE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8805" y="5168276"/>
            <a:ext cx="1981200" cy="35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77869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592894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9D65D75-6DF7-4B32-87C8-63125F559EB1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4CA0590-3722-4DE7-9256-4907D2F67FD4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E7888097-6B78-417A-8A42-35015BB0B99F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2A3110EC-22CD-48CD-854E-F843F0A45A4C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8FA60DC2-6880-4B88-BE10-BD0F3F6EB3AC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B13DEB89-605B-4754-8EF0-CAFFB7D6DA92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D0F3924-C407-44DD-A968-2E25C5C13694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5AB5CEEF-B09D-439B-BC26-343C7508A8D1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11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49134420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3"/>
            <a:ext cx="10919792" cy="468988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en-US"/>
              <a:t>Edit Master text styles</a:t>
            </a:r>
          </a:p>
          <a:p>
            <a:pPr marL="411480" lvl="1" indent="-205740"/>
            <a:r>
              <a:rPr lang="en-US"/>
              <a:t>Second level</a:t>
            </a:r>
          </a:p>
          <a:p>
            <a:pPr marL="548640" lvl="2" indent="-137160"/>
            <a:r>
              <a:rPr lang="en-US"/>
              <a:t>Third level</a:t>
            </a:r>
          </a:p>
          <a:p>
            <a:pPr marL="685800" lvl="3"/>
            <a:r>
              <a:rPr lang="en-US"/>
              <a:t>Fourth level</a:t>
            </a:r>
          </a:p>
          <a:p>
            <a:pPr marL="822960" lvl="4"/>
            <a:r>
              <a:rPr lang="en-US"/>
              <a:t>Fifth level</a:t>
            </a:r>
          </a:p>
        </p:txBody>
      </p:sp>
      <p:sp>
        <p:nvSpPr>
          <p:cNvPr id="6" name="Title Placeholder 15"/>
          <p:cNvSpPr>
            <a:spLocks noGrp="1"/>
          </p:cNvSpPr>
          <p:nvPr>
            <p:ph type="title"/>
          </p:nvPr>
        </p:nvSpPr>
        <p:spPr>
          <a:xfrm>
            <a:off x="649899" y="60041"/>
            <a:ext cx="10905997" cy="109728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33983" y="6498641"/>
            <a:ext cx="1584000" cy="250906"/>
          </a:xfrm>
          <a:prstGeom prst="rect">
            <a:avLst/>
          </a:prstGeom>
        </p:spPr>
      </p:pic>
      <p:sp>
        <p:nvSpPr>
          <p:cNvPr id="12" name="Holder 6"/>
          <p:cNvSpPr>
            <a:spLocks noGrp="1"/>
          </p:cNvSpPr>
          <p:nvPr>
            <p:ph type="sldNum" sz="quarter" idx="4"/>
          </p:nvPr>
        </p:nvSpPr>
        <p:spPr>
          <a:xfrm>
            <a:off x="11388791" y="6503914"/>
            <a:ext cx="355600" cy="22159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r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750" kern="1200">
                <a:solidFill>
                  <a:srgbClr val="FF0000"/>
                </a:solidFill>
                <a:latin typeface="+mn-lt"/>
                <a:ea typeface="Arial" pitchFamily="34" charset="0"/>
                <a:cs typeface="Arial" pitchFamily="34" charset="0"/>
              </a:defRPr>
            </a:lvl1pPr>
            <a:lvl2pPr marL="4572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9144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3716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1828800" algn="l" defTabSz="914400" rtl="0" eaLnBrk="1" fontAlgn="base" latinLnBrk="1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5143" r:id="rId2"/>
    <p:sldLayoutId id="2147485144" r:id="rId3"/>
    <p:sldLayoutId id="2147485360" r:id="rId4"/>
  </p:sldLayoutIdLst>
  <p:transition/>
  <p:hf hdr="0" ft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1" kern="1200">
          <a:solidFill>
            <a:schemeClr val="accent1"/>
          </a:solidFill>
          <a:latin typeface="Ooredoo Heavy" panose="00000A00000000000000" pitchFamily="50" charset="0"/>
          <a:ea typeface="Ooredoo Heavy" panose="00000A00000000000000" pitchFamily="50" charset="0"/>
          <a:cs typeface="+mj-cs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pitchFamily="34" charset="0"/>
          <a:ea typeface="Arial" pitchFamily="34" charset="0"/>
          <a:cs typeface="Arial" pitchFamily="34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pitchFamily="34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3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6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4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Char char="•"/>
        <a:defRPr lang="en-US" sz="120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694372" indent="0" algn="l" defTabSz="704850" rtl="0" eaLnBrk="1" fontAlgn="base" hangingPunct="1">
        <a:lnSpc>
          <a:spcPct val="100000"/>
        </a:lnSpc>
        <a:spcBef>
          <a:spcPts val="450"/>
        </a:spcBef>
        <a:spcAft>
          <a:spcPct val="0"/>
        </a:spcAft>
        <a:buClr>
          <a:srgbClr val="ED1C24"/>
        </a:buClr>
        <a:buSzPct val="140000"/>
        <a:buFont typeface="Arial" pitchFamily="34" charset="0"/>
        <a:buNone/>
        <a:defRPr lang="en-US" sz="1000" i="0" kern="120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Arial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000">
          <a:solidFill>
            <a:schemeClr val="tx1"/>
          </a:solidFill>
          <a:latin typeface="+mn-lt"/>
        </a:defRPr>
      </a:lvl8pPr>
      <a:lvl9pPr marL="2065972" indent="0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None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52">
          <p15:clr>
            <a:srgbClr val="F26B43"/>
          </p15:clr>
        </p15:guide>
        <p15:guide id="2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A830E92B-131B-7048-B186-D3A9F54F79DF}"/>
              </a:ext>
            </a:extLst>
          </p:cNvPr>
          <p:cNvGrpSpPr/>
          <p:nvPr/>
        </p:nvGrpSpPr>
        <p:grpSpPr>
          <a:xfrm>
            <a:off x="1676400" y="5719956"/>
            <a:ext cx="8686800" cy="680844"/>
            <a:chOff x="1524000" y="1806388"/>
            <a:chExt cx="15013877" cy="1165412"/>
          </a:xfrm>
          <a:solidFill>
            <a:schemeClr val="accent1"/>
          </a:solidFill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67E3729-333A-5F40-8A4B-20892BFC79DA}"/>
                </a:ext>
              </a:extLst>
            </p:cNvPr>
            <p:cNvSpPr/>
            <p:nvPr/>
          </p:nvSpPr>
          <p:spPr bwMode="auto">
            <a:xfrm>
              <a:off x="1524000" y="1806388"/>
              <a:ext cx="1165412" cy="1165412"/>
            </a:xfrm>
            <a:prstGeom prst="ellipse">
              <a:avLst/>
            </a:pr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51B047C-2188-4F48-86FB-1AEB2FE41EAE}"/>
                </a:ext>
              </a:extLst>
            </p:cNvPr>
            <p:cNvSpPr/>
            <p:nvPr/>
          </p:nvSpPr>
          <p:spPr bwMode="auto">
            <a:xfrm>
              <a:off x="2083512" y="1806388"/>
              <a:ext cx="13918530" cy="1165412"/>
            </a:xfrm>
            <a:prstGeom prst="rect">
              <a:avLst/>
            </a:pr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625770FA-6CAE-964A-894E-5AA525A658C7}"/>
                </a:ext>
              </a:extLst>
            </p:cNvPr>
            <p:cNvSpPr/>
            <p:nvPr/>
          </p:nvSpPr>
          <p:spPr bwMode="auto">
            <a:xfrm>
              <a:off x="15372465" y="1806388"/>
              <a:ext cx="1165412" cy="1165412"/>
            </a:xfrm>
            <a:prstGeom prst="ellipse">
              <a:avLst/>
            </a:prstGeom>
            <a:grp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4296136" y="6407828"/>
            <a:ext cx="3250212" cy="32249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>
              <a:lnSpc>
                <a:spcPct val="110000"/>
              </a:lnSpc>
              <a:spcBef>
                <a:spcPts val="346"/>
              </a:spcBef>
            </a:pPr>
            <a:r>
              <a:rPr lang="en-US" sz="700">
                <a:solidFill>
                  <a:srgbClr val="221E20"/>
                </a:solidFill>
                <a:latin typeface="Noto Sans"/>
              </a:rPr>
              <a:t>* Based on the rates applicable for the usage levels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4710E723-899C-0341-B8D3-00EACD8F3B34}"/>
              </a:ext>
            </a:extLst>
          </p:cNvPr>
          <p:cNvSpPr txBox="1"/>
          <p:nvPr/>
        </p:nvSpPr>
        <p:spPr>
          <a:xfrm>
            <a:off x="231661" y="280475"/>
            <a:ext cx="7210638" cy="4053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defPPr>
              <a:defRPr lang="en-US"/>
            </a:defPPr>
            <a:lvl1pPr marL="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585" b="1" kern="1200">
                <a:solidFill>
                  <a:schemeClr val="accent1"/>
                </a:solidFill>
                <a:latin typeface="ooredoo-Regular" panose="02000506000000020004" pitchFamily="2" charset="0"/>
                <a:ea typeface="ooredoo-Regular" panose="02000506000000020004" pitchFamily="2" charset="0"/>
                <a:cs typeface="Arial" pitchFamily="34" charset="0"/>
              </a:defRPr>
            </a:lvl1pPr>
            <a:lvl2pPr marL="4572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2pPr>
            <a:lvl3pPr marL="9144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3pPr>
            <a:lvl4pPr marL="13716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4pPr>
            <a:lvl5pPr marL="18288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5pPr>
            <a:lvl6pPr marL="422041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6pPr>
            <a:lvl7pPr marL="844083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7pPr>
            <a:lvl8pPr marL="1266124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8pPr>
            <a:lvl9pPr marL="1688165" algn="l" defTabSz="86752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>
                <a:solidFill>
                  <a:srgbClr val="0057A6"/>
                </a:solidFill>
                <a:latin typeface="Arial"/>
              </a:defRPr>
            </a:lvl9pPr>
          </a:lstStyle>
          <a:p>
            <a:r>
              <a:rPr lang="en-US" sz="3200">
                <a:latin typeface="+mj-lt"/>
              </a:rPr>
              <a:t>Group Results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75E4B728-2563-E74E-9071-67FD5CF70EB6}"/>
              </a:ext>
            </a:extLst>
          </p:cNvPr>
          <p:cNvSpPr txBox="1"/>
          <p:nvPr/>
        </p:nvSpPr>
        <p:spPr>
          <a:xfrm>
            <a:off x="246183" y="600974"/>
            <a:ext cx="5925331" cy="389626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defPPr>
              <a:defRPr lang="en-US"/>
            </a:defPPr>
            <a:lvl1pPr marL="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585" b="1" kern="1200">
                <a:solidFill>
                  <a:schemeClr val="accent1"/>
                </a:solidFill>
                <a:latin typeface="ooredoo-Regular" panose="02000506000000020004" pitchFamily="2" charset="0"/>
                <a:ea typeface="ooredoo-Regular" panose="02000506000000020004" pitchFamily="2" charset="0"/>
                <a:cs typeface="Arial" pitchFamily="34" charset="0"/>
              </a:defRPr>
            </a:lvl1pPr>
            <a:lvl2pPr marL="4572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2pPr>
            <a:lvl3pPr marL="9144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3pPr>
            <a:lvl4pPr marL="13716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4pPr>
            <a:lvl5pPr marL="1828800" algn="l" defTabSz="867529" rtl="0" eaLnBrk="1" fontAlgn="base" latin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15" b="1" kern="1200">
                <a:solidFill>
                  <a:srgbClr val="003366"/>
                </a:solidFill>
                <a:latin typeface="Arial"/>
                <a:ea typeface="Arial"/>
                <a:cs typeface="Arial"/>
              </a:defRPr>
            </a:lvl5pPr>
            <a:lvl6pPr marL="422041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6pPr>
            <a:lvl7pPr marL="844083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7pPr>
            <a:lvl8pPr marL="1266124" algn="l" defTabSz="86752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 kern="1200">
                <a:solidFill>
                  <a:srgbClr val="0057A6"/>
                </a:solidFill>
                <a:latin typeface="Arial"/>
                <a:ea typeface="Arial"/>
                <a:cs typeface="Arial"/>
              </a:defRPr>
            </a:lvl8pPr>
            <a:lvl9pPr marL="1688165" algn="l" defTabSz="867529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77" b="1">
                <a:solidFill>
                  <a:srgbClr val="0057A6"/>
                </a:solidFill>
                <a:latin typeface="Arial"/>
              </a:defRPr>
            </a:lvl9pPr>
          </a:lstStyle>
          <a:p>
            <a:r>
              <a:rPr lang="en-US" sz="2000">
                <a:latin typeface="+mj-lt"/>
              </a:rPr>
              <a:t>Debt Profile – Ooredoo Q.P.S.C.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B33B8E-C1A5-664F-B9D7-69FCA2CECFDC}"/>
              </a:ext>
            </a:extLst>
          </p:cNvPr>
          <p:cNvSpPr/>
          <p:nvPr/>
        </p:nvSpPr>
        <p:spPr>
          <a:xfrm>
            <a:off x="1960041" y="5828079"/>
            <a:ext cx="7922402" cy="3100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>
              <a:lnSpc>
                <a:spcPct val="110000"/>
              </a:lnSpc>
              <a:spcBef>
                <a:spcPts val="83"/>
              </a:spcBef>
              <a:spcAft>
                <a:spcPts val="83"/>
              </a:spcAft>
            </a:pPr>
            <a:r>
              <a:rPr lang="en-US" sz="1400" b="1" kern="0" dirty="0">
                <a:solidFill>
                  <a:schemeClr val="bg1"/>
                </a:solidFill>
                <a:latin typeface="+mj-lt"/>
              </a:rPr>
              <a:t>Well placed for the refinancing of the 2020 debt maturit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4C11F9-590F-174A-A65D-2A3C61939F28}"/>
              </a:ext>
            </a:extLst>
          </p:cNvPr>
          <p:cNvSpPr txBox="1"/>
          <p:nvPr/>
        </p:nvSpPr>
        <p:spPr>
          <a:xfrm flipH="1">
            <a:off x="10849232" y="582750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>
              <a:spcBef>
                <a:spcPts val="600"/>
              </a:spcBef>
              <a:spcAft>
                <a:spcPct val="0"/>
              </a:spcAft>
              <a:buClr>
                <a:srgbClr val="ED1C24"/>
              </a:buClr>
              <a:buSzPct val="140000"/>
            </a:pPr>
            <a:endParaRPr lang="en-US" sz="1200" err="1">
              <a:solidFill>
                <a:srgbClr val="000000"/>
              </a:solidFill>
              <a:latin typeface="Noto Sans" panose="020B0502040504020204" pitchFamily="34" charset="0"/>
            </a:endParaRP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B9AE190D-BBEE-B041-81CB-AFAC6FCD7D6F}"/>
              </a:ext>
            </a:extLst>
          </p:cNvPr>
          <p:cNvSpPr txBox="1"/>
          <p:nvPr/>
        </p:nvSpPr>
        <p:spPr>
          <a:xfrm>
            <a:off x="11525464" y="6569075"/>
            <a:ext cx="590336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6130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7226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58391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452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3065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16782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0291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89043" algn="l" defTabSz="1172261" rtl="0" eaLnBrk="1" latinLnBrk="0" hangingPunct="1">
              <a:defRPr sz="230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9F4C691-6DE9-424C-9C34-B44F65CDDA11}" type="slidenum">
              <a:rPr lang="en-US" sz="750" smtClean="0">
                <a:solidFill>
                  <a:schemeClr val="accent1"/>
                </a:solidFill>
              </a:rPr>
              <a:pPr algn="r"/>
              <a:t>1</a:t>
            </a:fld>
            <a:endParaRPr lang="en-US" sz="750">
              <a:solidFill>
                <a:schemeClr val="accent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610DE51-38C8-6C42-91C0-D5E013F22CE1}"/>
              </a:ext>
            </a:extLst>
          </p:cNvPr>
          <p:cNvGrpSpPr/>
          <p:nvPr/>
        </p:nvGrpSpPr>
        <p:grpSpPr>
          <a:xfrm>
            <a:off x="7603873" y="175136"/>
            <a:ext cx="4691330" cy="287551"/>
            <a:chOff x="7251756" y="1858617"/>
            <a:chExt cx="4691330" cy="287551"/>
          </a:xfrm>
        </p:grpSpPr>
        <p:sp>
          <p:nvSpPr>
            <p:cNvPr id="37" name="Title 3">
              <a:extLst>
                <a:ext uri="{FF2B5EF4-FFF2-40B4-BE49-F238E27FC236}">
                  <a16:creationId xmlns:a16="http://schemas.microsoft.com/office/drawing/2014/main" id="{B0BF4CDC-B5DB-714C-8D22-39F32FC7A15D}"/>
                </a:ext>
              </a:extLst>
            </p:cNvPr>
            <p:cNvSpPr txBox="1"/>
            <p:nvPr/>
          </p:nvSpPr>
          <p:spPr>
            <a:xfrm>
              <a:off x="10217137" y="1926353"/>
              <a:ext cx="1725949" cy="174096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>
                  <a:latin typeface="Ooredoo Heavy" panose="00000A00000000000000" pitchFamily="50" charset="0"/>
                  <a:ea typeface="Ooredoo Heavy" panose="00000A00000000000000" pitchFamily="50" charset="0"/>
                </a:rPr>
                <a:t>Additional information</a:t>
              </a:r>
            </a:p>
          </p:txBody>
        </p:sp>
        <p:sp>
          <p:nvSpPr>
            <p:cNvPr id="38" name="Title 3">
              <a:extLst>
                <a:ext uri="{FF2B5EF4-FFF2-40B4-BE49-F238E27FC236}">
                  <a16:creationId xmlns:a16="http://schemas.microsoft.com/office/drawing/2014/main" id="{2D10EFD5-0D48-AB43-A3A7-093AC70B9D66}"/>
                </a:ext>
              </a:extLst>
            </p:cNvPr>
            <p:cNvSpPr txBox="1"/>
            <p:nvPr/>
          </p:nvSpPr>
          <p:spPr>
            <a:xfrm>
              <a:off x="7251756" y="1858617"/>
              <a:ext cx="836125" cy="24183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 b="0">
                  <a:solidFill>
                    <a:schemeClr val="tx1">
                      <a:lumMod val="90000"/>
                      <a:lumOff val="10000"/>
                    </a:schemeClr>
                  </a:solidFill>
                  <a:latin typeface="Ooredoo Heavy" panose="00000A00000000000000" pitchFamily="50" charset="0"/>
                  <a:ea typeface="Ooredoo Heavy" panose="00000A00000000000000" pitchFamily="50" charset="0"/>
                </a:rPr>
                <a:t>Overview</a:t>
              </a:r>
            </a:p>
          </p:txBody>
        </p:sp>
        <p:sp>
          <p:nvSpPr>
            <p:cNvPr id="40" name="Rounded Rectangle 39">
              <a:extLst>
                <a:ext uri="{FF2B5EF4-FFF2-40B4-BE49-F238E27FC236}">
                  <a16:creationId xmlns:a16="http://schemas.microsoft.com/office/drawing/2014/main" id="{B61FD4A8-C834-B540-9A63-0E23C9666288}"/>
                </a:ext>
              </a:extLst>
            </p:cNvPr>
            <p:cNvSpPr/>
            <p:nvPr/>
          </p:nvSpPr>
          <p:spPr bwMode="auto">
            <a:xfrm>
              <a:off x="7348061" y="2100449"/>
              <a:ext cx="551200" cy="4571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BA6FADD-7E05-6443-9DCE-270E7376E00A}"/>
                </a:ext>
              </a:extLst>
            </p:cNvPr>
            <p:cNvSpPr txBox="1"/>
            <p:nvPr/>
          </p:nvSpPr>
          <p:spPr>
            <a:xfrm flipH="1">
              <a:off x="8105861" y="1944046"/>
              <a:ext cx="0" cy="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>
                <a:spcBef>
                  <a:spcPts val="600"/>
                </a:spcBef>
                <a:spcAft>
                  <a:spcPct val="0"/>
                </a:spcAft>
                <a:buClr>
                  <a:srgbClr val="ED1C24"/>
                </a:buClr>
                <a:buSzPct val="140000"/>
              </a:pPr>
              <a:endParaRPr lang="en-US" sz="1200" err="1">
                <a:solidFill>
                  <a:srgbClr val="000000"/>
                </a:solidFill>
                <a:latin typeface="Noto Sans" panose="020B0502040504020204" pitchFamily="34" charset="0"/>
              </a:endParaRPr>
            </a:p>
          </p:txBody>
        </p:sp>
        <p:sp>
          <p:nvSpPr>
            <p:cNvPr id="42" name="Title 3">
              <a:extLst>
                <a:ext uri="{FF2B5EF4-FFF2-40B4-BE49-F238E27FC236}">
                  <a16:creationId xmlns:a16="http://schemas.microsoft.com/office/drawing/2014/main" id="{17AAE759-9424-BE43-9118-4FF86BB8C4F7}"/>
                </a:ext>
              </a:extLst>
            </p:cNvPr>
            <p:cNvSpPr txBox="1"/>
            <p:nvPr/>
          </p:nvSpPr>
          <p:spPr>
            <a:xfrm>
              <a:off x="8007265" y="1858617"/>
              <a:ext cx="1271902" cy="24183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 b="0">
                  <a:solidFill>
                    <a:schemeClr val="tx1">
                      <a:lumMod val="90000"/>
                      <a:lumOff val="10000"/>
                    </a:schemeClr>
                  </a:solidFill>
                  <a:latin typeface="Ooredoo Heavy" panose="00000A00000000000000" pitchFamily="50" charset="0"/>
                  <a:ea typeface="Ooredoo Heavy" panose="00000A00000000000000" pitchFamily="50" charset="0"/>
                </a:rPr>
                <a:t>Results review</a:t>
              </a:r>
            </a:p>
          </p:txBody>
        </p:sp>
        <p:sp>
          <p:nvSpPr>
            <p:cNvPr id="43" name="Rounded Rectangle 42">
              <a:extLst>
                <a:ext uri="{FF2B5EF4-FFF2-40B4-BE49-F238E27FC236}">
                  <a16:creationId xmlns:a16="http://schemas.microsoft.com/office/drawing/2014/main" id="{E8F1D839-6110-1B47-A409-970EC90FB171}"/>
                </a:ext>
              </a:extLst>
            </p:cNvPr>
            <p:cNvSpPr/>
            <p:nvPr/>
          </p:nvSpPr>
          <p:spPr bwMode="auto">
            <a:xfrm>
              <a:off x="8060835" y="2100449"/>
              <a:ext cx="845267" cy="4571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44" name="Title 3">
              <a:extLst>
                <a:ext uri="{FF2B5EF4-FFF2-40B4-BE49-F238E27FC236}">
                  <a16:creationId xmlns:a16="http://schemas.microsoft.com/office/drawing/2014/main" id="{AF19D504-B672-BF4B-9BAE-3FE68DC10C15}"/>
                </a:ext>
              </a:extLst>
            </p:cNvPr>
            <p:cNvSpPr txBox="1"/>
            <p:nvPr/>
          </p:nvSpPr>
          <p:spPr>
            <a:xfrm>
              <a:off x="8970702" y="1861875"/>
              <a:ext cx="1271902" cy="241832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defPPr>
                <a:defRPr lang="en-US"/>
              </a:defPPr>
              <a:lvl1pPr marL="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en-US" sz="2585" b="1" kern="1200">
                  <a:solidFill>
                    <a:schemeClr val="accent1"/>
                  </a:solidFill>
                  <a:latin typeface="ooredoo-Regular" panose="02000506000000020004" pitchFamily="2" charset="0"/>
                  <a:ea typeface="ooredoo-Regular" panose="02000506000000020004" pitchFamily="2" charset="0"/>
                  <a:cs typeface="Arial" pitchFamily="34" charset="0"/>
                </a:defRPr>
              </a:lvl1pPr>
              <a:lvl2pPr marL="4572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2pPr>
              <a:lvl3pPr marL="9144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3pPr>
              <a:lvl4pPr marL="13716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4pPr>
              <a:lvl5pPr marL="1828800" algn="l" defTabSz="867529" rtl="0" eaLnBrk="1" fontAlgn="base" latinLnBrk="1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215" b="1" kern="1200">
                  <a:solidFill>
                    <a:srgbClr val="003366"/>
                  </a:solidFill>
                  <a:latin typeface="Arial"/>
                  <a:ea typeface="Arial"/>
                  <a:cs typeface="Arial"/>
                </a:defRPr>
              </a:lvl5pPr>
              <a:lvl6pPr marL="422041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6pPr>
              <a:lvl7pPr marL="844083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7pPr>
              <a:lvl8pPr marL="1266124" algn="l" defTabSz="86752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 kern="1200">
                  <a:solidFill>
                    <a:srgbClr val="0057A6"/>
                  </a:solidFill>
                  <a:latin typeface="Arial"/>
                  <a:ea typeface="Arial"/>
                  <a:cs typeface="Arial"/>
                </a:defRPr>
              </a:lvl8pPr>
              <a:lvl9pPr marL="1688165" algn="l" defTabSz="867529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77" b="1">
                  <a:solidFill>
                    <a:srgbClr val="0057A6"/>
                  </a:solidFill>
                  <a:latin typeface="Arial"/>
                </a:defRPr>
              </a:lvl9pPr>
            </a:lstStyle>
            <a:p>
              <a:r>
                <a:rPr lang="en-US" sz="900" b="0">
                  <a:solidFill>
                    <a:schemeClr val="tx1">
                      <a:lumMod val="90000"/>
                      <a:lumOff val="10000"/>
                    </a:schemeClr>
                  </a:solidFill>
                  <a:latin typeface="Ooredoo Heavy" panose="00000A00000000000000" pitchFamily="50" charset="0"/>
                  <a:ea typeface="Ooredoo Heavy" panose="00000A00000000000000" pitchFamily="50" charset="0"/>
                </a:rPr>
                <a:t>Operations review</a:t>
              </a:r>
            </a:p>
          </p:txBody>
        </p:sp>
        <p:sp>
          <p:nvSpPr>
            <p:cNvPr id="45" name="Rounded Rectangle 44">
              <a:extLst>
                <a:ext uri="{FF2B5EF4-FFF2-40B4-BE49-F238E27FC236}">
                  <a16:creationId xmlns:a16="http://schemas.microsoft.com/office/drawing/2014/main" id="{E6326C8F-7289-1346-BC79-54F3B5977054}"/>
                </a:ext>
              </a:extLst>
            </p:cNvPr>
            <p:cNvSpPr/>
            <p:nvPr/>
          </p:nvSpPr>
          <p:spPr bwMode="auto">
            <a:xfrm>
              <a:off x="9047645" y="2100449"/>
              <a:ext cx="1086955" cy="4571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5B6B08F7-9134-6340-8AB7-A29FE5E49F0F}"/>
                </a:ext>
              </a:extLst>
            </p:cNvPr>
            <p:cNvSpPr/>
            <p:nvPr/>
          </p:nvSpPr>
          <p:spPr bwMode="auto">
            <a:xfrm>
              <a:off x="10313673" y="2089077"/>
              <a:ext cx="1268727" cy="4571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86130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7226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58391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34452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93065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16782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102913" algn="l" defTabSz="1172261" rtl="0" eaLnBrk="1" latinLnBrk="0" hangingPunct="1">
                <a:defRPr sz="230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 marL="0" marR="0" indent="0" algn="ctr" defTabSz="979488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1"/>
                </a:buClr>
                <a:buSzTx/>
                <a:buFont typeface="Wingdings" pitchFamily="2" charset="2"/>
                <a:buNone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Ooredoo Heavy" panose="00000A00000000000000" pitchFamily="50" charset="0"/>
              </a:endParaRPr>
            </a:p>
          </p:txBody>
        </p:sp>
      </p:grp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1555327"/>
              </p:ext>
            </p:extLst>
          </p:nvPr>
        </p:nvGraphicFramePr>
        <p:xfrm>
          <a:off x="1886054" y="2810607"/>
          <a:ext cx="4190960" cy="2546474"/>
        </p:xfrm>
        <a:graphic>
          <a:graphicData uri="http://schemas.openxmlformats.org/drawingml/2006/table">
            <a:tbl>
              <a:tblPr/>
              <a:tblGrid>
                <a:gridCol w="1390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30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90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48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53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oans</a:t>
                      </a:r>
                      <a:r>
                        <a:rPr lang="en-US" sz="9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(in USD m)</a:t>
                      </a:r>
                    </a:p>
                  </a:txBody>
                  <a:tcPr marL="84406" marR="84406" marT="42203" marB="42203" anchor="ctr" horzOverflow="overflow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Amount</a:t>
                      </a:r>
                    </a:p>
                  </a:txBody>
                  <a:tcPr marL="84406" marR="84406" marT="42203" marB="42203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Usage</a:t>
                      </a:r>
                    </a:p>
                  </a:txBody>
                  <a:tcPr marL="84406" marR="84406" marT="42203" marB="42203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Rate*</a:t>
                      </a:r>
                    </a:p>
                  </a:txBody>
                  <a:tcPr marL="84406" marR="84406" marT="42203" marB="42203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Maturity</a:t>
                      </a:r>
                    </a:p>
                  </a:txBody>
                  <a:tcPr marL="84406" marR="84406" marT="42203" marB="42203" anchor="ctr" horzOverflow="overflow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0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NB QAR3bn RCF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4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QAR MM rate</a:t>
                      </a:r>
                    </a:p>
                  </a:txBody>
                  <a:tcPr marL="84406" marR="84406" marT="42203" marB="42203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-Jan-2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0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D 500mn RCF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84406" marR="84406" marT="42203" marB="42203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6 May 202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0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D 150mn Term Loan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84406" marR="84406" marT="42203" marB="42203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-Aug-2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0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USD 1bn RCF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00</a:t>
                      </a:r>
                      <a:endParaRPr lang="en-GB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0</a:t>
                      </a:r>
                      <a:endParaRPr lang="en-GB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7-Jun-22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0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 USD200mn Amortizing Loan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2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60</a:t>
                      </a:r>
                      <a:endParaRPr lang="en-GB" sz="600" b="0" i="0" u="none" strike="noStrike" dirty="0">
                        <a:solidFill>
                          <a:srgbClr val="110F10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2-Jul-23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340690"/>
                  </a:ext>
                </a:extLst>
              </a:tr>
              <a:tr h="1820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 USD 100m Term Loan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08-Oct-23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0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 USD 150mn RCF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5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5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30-Oct-23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825329"/>
                  </a:ext>
                </a:extLst>
              </a:tr>
              <a:tr h="1820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 USD 100m Term Loan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31-Oct-23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20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 USD 100m Term Loan</a:t>
                      </a: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00</a:t>
                      </a:r>
                      <a:r>
                        <a:rPr lang="en-GB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600" b="0" i="0" u="none" strike="noStrike" dirty="0">
                          <a:solidFill>
                            <a:srgbClr val="110F10"/>
                          </a:solidFill>
                          <a:effectLst/>
                          <a:latin typeface="+mn-lt"/>
                        </a:rPr>
                        <a:t>13-Dec-23</a:t>
                      </a: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207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USD</a:t>
                      </a:r>
                      <a:r>
                        <a:rPr lang="en-US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300m RCF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0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0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Arial" pitchFamily="34" charset="0"/>
                        </a:rPr>
                        <a:t>Libor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-May-24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3268873"/>
                  </a:ext>
                </a:extLst>
              </a:tr>
              <a:tr h="21189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USD 150m </a:t>
                      </a:r>
                      <a:r>
                        <a:rPr lang="en-US" sz="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mortizing Term </a:t>
                      </a:r>
                      <a:r>
                        <a:rPr lang="en-US" sz="6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an 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0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0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Arial" pitchFamily="34" charset="0"/>
                        </a:rPr>
                        <a:t>3.096%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-Sep-29</a:t>
                      </a:r>
                      <a:endParaRPr lang="en-GB" sz="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5214457"/>
                  </a:ext>
                </a:extLst>
              </a:tr>
              <a:tr h="198561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Total Loans </a:t>
                      </a:r>
                    </a:p>
                  </a:txBody>
                  <a:tcPr marL="63305" marR="63305" marT="31652" marB="31652"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3,574m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2,190m</a:t>
                      </a: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+mn-lt"/>
                        <a:ea typeface="ＭＳ Ｐゴシック"/>
                        <a:cs typeface="Arial" pitchFamily="34" charset="0"/>
                      </a:endParaRPr>
                    </a:p>
                  </a:txBody>
                  <a:tcPr marL="63305" marR="63305" marT="31652" marB="31652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GB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658" marR="5658" marT="5658" marB="0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>
            <p:extLst/>
          </p:nvPr>
        </p:nvGraphicFramePr>
        <p:xfrm>
          <a:off x="6106321" y="2805706"/>
          <a:ext cx="4078698" cy="2549904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433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8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29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66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88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Bonds </a:t>
                      </a: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(in USD m)</a:t>
                      </a: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Issue Amount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Interest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Maturity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7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Listed in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Fixed Rate  Bonds due 2021</a:t>
                      </a: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1,000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4.75% 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16 Feb 2021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LSE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Fixed Rate  Bonds</a:t>
                      </a:r>
                      <a:r>
                        <a:rPr lang="en-US" sz="700" b="0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due 2023</a:t>
                      </a: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1,000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.25%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21 Feb 2023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SE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Fixed Rate  Bonds due 2025</a:t>
                      </a: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750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5.00%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19 Oct 2025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LSE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Fixed Rate  Bonds due 2026</a:t>
                      </a: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63305" marR="63305" marT="31652" marB="31652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500</a:t>
                      </a:r>
                    </a:p>
                  </a:txBody>
                  <a:tcPr marL="63305" marR="63305" marT="31652" marB="316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.75%</a:t>
                      </a:r>
                    </a:p>
                  </a:txBody>
                  <a:tcPr marL="63305" marR="63305" marT="31652" marB="316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22 Jun 2026</a:t>
                      </a:r>
                    </a:p>
                  </a:txBody>
                  <a:tcPr marL="63305" marR="63305" marT="31652" marB="3165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SE</a:t>
                      </a:r>
                    </a:p>
                  </a:txBody>
                  <a:tcPr marL="63305" marR="63305" marT="31652" marB="31652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Fixed Rate  Bonds due 2028</a:t>
                      </a: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500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.875%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1 Jan</a:t>
                      </a:r>
                      <a:r>
                        <a:rPr lang="en-US" sz="700" b="0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 2028</a:t>
                      </a: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SE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0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Fixed Rate  Bonds due 2043</a:t>
                      </a: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500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4.50%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31 Jan 2043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700" b="0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ISE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en-US" sz="700" b="0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2107775"/>
                  </a:ext>
                </a:extLst>
              </a:tr>
              <a:tr h="7316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700" b="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700" b="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700" b="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0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8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i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Total </a:t>
                      </a:r>
                      <a:r>
                        <a:rPr lang="en-US" sz="700" b="1" i="0" baseline="0" dirty="0">
                          <a:solidFill>
                            <a:srgbClr val="000000"/>
                          </a:solidFill>
                          <a:latin typeface="+mn-lt"/>
                          <a:cs typeface="Arial" pitchFamily="34" charset="0"/>
                        </a:rPr>
                        <a:t>Bonds </a:t>
                      </a:r>
                      <a:endParaRPr lang="en-US" sz="700" b="1" i="0" dirty="0">
                        <a:solidFill>
                          <a:srgbClr val="000000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700" b="1" i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4,250m</a:t>
                      </a: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700" b="1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700" b="1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i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84406" marR="84406" marT="42203" marB="42203" anchor="ctr"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29" name="Chart 28"/>
          <p:cNvGraphicFramePr/>
          <p:nvPr>
            <p:extLst/>
          </p:nvPr>
        </p:nvGraphicFramePr>
        <p:xfrm>
          <a:off x="1579719" y="228944"/>
          <a:ext cx="8783481" cy="2512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8" name="Table 47"/>
          <p:cNvGraphicFramePr>
            <a:graphicFrameLocks noGrp="1"/>
          </p:cNvGraphicFramePr>
          <p:nvPr>
            <p:extLst/>
          </p:nvPr>
        </p:nvGraphicFramePr>
        <p:xfrm>
          <a:off x="1905001" y="5410200"/>
          <a:ext cx="8294484" cy="246184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64417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27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7732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Total outstanding debt as at 30 September </a:t>
                      </a:r>
                      <a:r>
                        <a:rPr lang="en-US" sz="1200" b="1" baseline="0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2019 at Ooredoo Q.P.S.C. level</a:t>
                      </a:r>
                      <a:endParaRPr lang="en-US" sz="1200" b="1" baseline="30000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68580" marR="68580" marT="31652" marB="31652" anchor="ctr"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USD 6,440 million</a:t>
                      </a:r>
                    </a:p>
                  </a:txBody>
                  <a:tcPr marL="68580" marR="68580" marT="31652" marB="31652" anchor="ctr">
                    <a:lnL w="12700" cmpd="sng">
                      <a:noFill/>
                    </a:lnL>
                    <a:lnR w="12700" cmpd="sng">
                      <a:noFill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502217" y="1340521"/>
            <a:ext cx="958634" cy="1508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/>
                <a:cs typeface="Arial" charset="0"/>
              </a:rPr>
              <a:t>       Undrawn RCF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C24"/>
              </a:buClr>
              <a:buSzPct val="140000"/>
              <a:buFontTx/>
              <a:buNone/>
              <a:tabLst/>
              <a:defRPr/>
            </a:pPr>
            <a:r>
              <a:rPr lang="en-US" sz="700" b="1" dirty="0">
                <a:solidFill>
                  <a:srgbClr val="000000"/>
                </a:solidFill>
                <a:latin typeface="Noto Sans"/>
              </a:rPr>
              <a:t>        520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27649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3.9600.0"/>
  <p:tag name="AS_RELEASE_DATE" val="2017.03.22"/>
  <p:tag name="AS_TITLE" val="Aspose.Slides for .NET 4.0"/>
  <p:tag name="AS_VERSION" val="17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08.05_20170507_Ooredoo_template_4x3 ratio_v12">
  <a:themeElements>
    <a:clrScheme name="Ooredoo colours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11">
      <a:majorFont>
        <a:latin typeface="Ooredoo Heavy"/>
        <a:ea typeface="Arial" pitchFamily="34" charset="0"/>
        <a:cs typeface="OoredooArabic-Heavy"/>
      </a:majorFont>
      <a:minorFont>
        <a:latin typeface="Noto Sans"/>
        <a:ea typeface="Arial" pitchFamily="34" charset="0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Ooredoo Heavy" panose="00000A00000000000000" pitchFamily="50" charset="0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600"/>
          </a:spcBef>
          <a:spcAft>
            <a:spcPts val="0"/>
          </a:spcAft>
          <a:buClr>
            <a:srgbClr val="ED1C24"/>
          </a:buClr>
          <a:buSzPct val="140000"/>
          <a:defRPr sz="1200" dirty="0" err="1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20170521_Ooredoo_template_4x3 ratio_v16" id="{B5C1E8C6-0D09-4B17-9FAD-1B347E675D26}" vid="{71FB96DF-66A2-42A3-BC6D-B43611A0B07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 pitchFamily="34" charset="0"/>
        <a:cs typeface="Arial" pitchFamily="34" charset="0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 pitchFamily="34" charset="0"/>
        <a:cs typeface="Arial" pitchFamily="34" charset="0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0</TotalTime>
  <Words>282</Words>
  <Application>Microsoft Office PowerPoint</Application>
  <PresentationFormat>Widescreen</PresentationFormat>
  <Paragraphs>1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Noto Sans</vt:lpstr>
      <vt:lpstr>Ooredoo Heavy</vt:lpstr>
      <vt:lpstr>Wingdings</vt:lpstr>
      <vt:lpstr>Office Theme</vt:lpstr>
      <vt:lpstr>08.05_20170507_Ooredoo_template_4x3 ratio_v1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a Ibrahim Al Sayed</dc:creator>
  <cp:lastModifiedBy>Aya Zbib</cp:lastModifiedBy>
  <cp:revision>176</cp:revision>
  <cp:lastPrinted>2019-10-21T07:16:11Z</cp:lastPrinted>
  <dcterms:created xsi:type="dcterms:W3CDTF">2019-10-21T04:16:11Z</dcterms:created>
  <dcterms:modified xsi:type="dcterms:W3CDTF">2019-11-06T09:3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f0bd1628-9b62-4246-8a04-e6de1d22329c</vt:lpwstr>
  </property>
  <property fmtid="{D5CDD505-2E9C-101B-9397-08002B2CF9AE}" pid="3" name="Classification">
    <vt:lpwstr>Internal</vt:lpwstr>
  </property>
</Properties>
</file>